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256" r:id="rId2"/>
    <p:sldId id="260" r:id="rId3"/>
    <p:sldId id="261" r:id="rId4"/>
    <p:sldId id="262" r:id="rId5"/>
    <p:sldId id="263" r:id="rId6"/>
  </p:sldIdLst>
  <p:sldSz cx="12192000" cy="6858000"/>
  <p:notesSz cx="6858000" cy="9144000"/>
  <p:custDataLst>
    <p:tags r:id="rId8"/>
  </p:custDataLst>
  <p:defaultTextStyle>
    <a:defPPr>
      <a:defRPr lang="en-A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76"/>
    <p:restoredTop sz="94719"/>
  </p:normalViewPr>
  <p:slideViewPr>
    <p:cSldViewPr snapToGrid="0">
      <p:cViewPr>
        <p:scale>
          <a:sx n="150" d="100"/>
          <a:sy n="150" d="100"/>
        </p:scale>
        <p:origin x="1216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2273812106747E-2"/>
          <c:y val="7.2625698324022353E-2"/>
          <c:w val="0.97743545237578655"/>
          <c:h val="0.85474860335195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A98EC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0</c:v>
                </c:pt>
                <c:pt idx="1">
                  <c:v>4.3499999999999996</c:v>
                </c:pt>
                <c:pt idx="2">
                  <c:v>10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89-A747-85BF-CE44330CA789}"/>
            </c:ext>
          </c:extLst>
        </c:ser>
        <c:ser>
          <c:idx val="1"/>
          <c:order val="1"/>
          <c:spPr>
            <a:solidFill>
              <a:srgbClr val="FF9E3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2.16</c:v>
                </c:pt>
                <c:pt idx="1">
                  <c:v>93.47999999999999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89-A747-85BF-CE44330CA789}"/>
            </c:ext>
          </c:extLst>
        </c:ser>
        <c:ser>
          <c:idx val="2"/>
          <c:order val="2"/>
          <c:spPr>
            <a:solidFill>
              <a:srgbClr val="02BF5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7.84</c:v>
                </c:pt>
                <c:pt idx="1">
                  <c:v>2.17</c:v>
                </c:pt>
                <c:pt idx="2">
                  <c:v>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89-A747-85BF-CE44330CA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88615903"/>
        <c:axId val="1"/>
      </c:barChart>
      <c:catAx>
        <c:axId val="1088615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615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2273812106747E-2"/>
          <c:y val="7.2625698324022353E-2"/>
          <c:w val="0.97743545237578655"/>
          <c:h val="0.85474860335195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A98EC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1</c:v>
                </c:pt>
                <c:pt idx="1">
                  <c:v>100</c:v>
                </c:pt>
                <c:pt idx="2">
                  <c:v>0</c:v>
                </c:pt>
                <c:pt idx="3">
                  <c:v>45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EA-DD40-9AB3-1A5240CF1A6D}"/>
            </c:ext>
          </c:extLst>
        </c:ser>
        <c:ser>
          <c:idx val="1"/>
          <c:order val="1"/>
          <c:spPr>
            <a:solidFill>
              <a:srgbClr val="FF9E3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1</c:v>
                </c:pt>
                <c:pt idx="1">
                  <c:v>0</c:v>
                </c:pt>
                <c:pt idx="2">
                  <c:v>100</c:v>
                </c:pt>
                <c:pt idx="3">
                  <c:v>29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EA-DD40-9AB3-1A5240CF1A6D}"/>
            </c:ext>
          </c:extLst>
        </c:ser>
        <c:ser>
          <c:idx val="2"/>
          <c:order val="2"/>
          <c:spPr>
            <a:solidFill>
              <a:srgbClr val="02BF5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8</c:v>
                </c:pt>
                <c:pt idx="1">
                  <c:v>0</c:v>
                </c:pt>
                <c:pt idx="2">
                  <c:v>0</c:v>
                </c:pt>
                <c:pt idx="3">
                  <c:v>25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EA-DD40-9AB3-1A5240CF1A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88517503"/>
        <c:axId val="1"/>
      </c:barChart>
      <c:catAx>
        <c:axId val="1088517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517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2273812106747E-2"/>
          <c:y val="7.2625698324022353E-2"/>
          <c:w val="0.97743545237578655"/>
          <c:h val="0.85474860335195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A98EC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9.480000000000004</c:v>
                </c:pt>
                <c:pt idx="1">
                  <c:v>100</c:v>
                </c:pt>
                <c:pt idx="2">
                  <c:v>97.960000000000008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B6-6B49-9EE9-CA6A40EED00C}"/>
            </c:ext>
          </c:extLst>
        </c:ser>
        <c:ser>
          <c:idx val="1"/>
          <c:order val="1"/>
          <c:spPr>
            <a:solidFill>
              <a:srgbClr val="FF9E3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2.27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B6-6B49-9EE9-CA6A40EED00C}"/>
            </c:ext>
          </c:extLst>
        </c:ser>
        <c:ser>
          <c:idx val="2"/>
          <c:order val="2"/>
          <c:spPr>
            <a:solidFill>
              <a:srgbClr val="02BF5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8.25</c:v>
                </c:pt>
                <c:pt idx="1">
                  <c:v>0</c:v>
                </c:pt>
                <c:pt idx="2">
                  <c:v>2.04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B6-6B49-9EE9-CA6A40EED0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83719311"/>
        <c:axId val="1"/>
      </c:barChart>
      <c:catAx>
        <c:axId val="12837193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3719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82273812106747E-2"/>
          <c:y val="7.2625698324022353E-2"/>
          <c:w val="0.97743545237578655"/>
          <c:h val="0.85474860335195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A98EC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1.15</c:v>
                </c:pt>
                <c:pt idx="1">
                  <c:v>100</c:v>
                </c:pt>
                <c:pt idx="2">
                  <c:v>90.48</c:v>
                </c:pt>
                <c:pt idx="3">
                  <c:v>12.1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0-8A41-BF6C-92BBF6C09C4E}"/>
            </c:ext>
          </c:extLst>
        </c:ser>
        <c:ser>
          <c:idx val="1"/>
          <c:order val="1"/>
          <c:spPr>
            <a:solidFill>
              <a:srgbClr val="FF9E3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1.959999999999994</c:v>
                </c:pt>
                <c:pt idx="1">
                  <c:v>0</c:v>
                </c:pt>
                <c:pt idx="2">
                  <c:v>9.5200000000000014</c:v>
                </c:pt>
                <c:pt idx="3">
                  <c:v>8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0-8A41-BF6C-92BBF6C09C4E}"/>
            </c:ext>
          </c:extLst>
        </c:ser>
        <c:ser>
          <c:idx val="2"/>
          <c:order val="2"/>
          <c:spPr>
            <a:solidFill>
              <a:srgbClr val="02BF5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6.87</c:v>
                </c:pt>
                <c:pt idx="1">
                  <c:v>0</c:v>
                </c:pt>
                <c:pt idx="2">
                  <c:v>0</c:v>
                </c:pt>
                <c:pt idx="3">
                  <c:v>4.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60-8A41-BF6C-92BBF6C09C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83675119"/>
        <c:axId val="1"/>
      </c:barChart>
      <c:catAx>
        <c:axId val="12836751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36751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2C9078-EE05-4E43-949F-44204ED026CA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C3666F-0C17-A441-BDFF-0CEBF1E92F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20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3666F-0C17-A441-BDFF-0CEBF1E92F5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385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3666F-0C17-A441-BDFF-0CEBF1E92F5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044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647B1-0615-35BF-FBCF-07DC8E9A13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11276F-B949-5D90-EE79-2643A11827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7E778F-5F41-CB17-43B8-F6E47B598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E3940B-686C-9030-EE12-368C37328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F03895-90EA-0BA9-6FC3-AA51009C3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64553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EF231-CDCB-3E1F-BE4A-ADF9966CF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2CA37B-2CB9-6A26-2691-88A135143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A565D-B552-AC4A-2402-12B992C5E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3D2970-0B00-B5E6-F2C8-0F0083FC7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1CBF7C-D995-5CD1-03E4-EFD5717FC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763046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522BA8-BFFE-8B1E-14E5-392F9EC44F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FB5E10-7493-45CB-E117-4F900C8690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33E25B-E59E-8C18-AB85-043D07C51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31951D-AD1B-D9B6-1463-475518BAF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C9B39E-51F9-9D61-0314-65D2E5116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866714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D4BC5-0DB8-F437-03F4-696A6079F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FA34A9-57D1-695D-7FDA-40BFC6EF71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69715A-4891-7969-B8DD-16514AE1D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01F746-8A81-E374-4186-DD1A37D3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A9FD9-3DF4-8EE9-7575-528DB04B4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951302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7227E-0CF5-F681-3C0D-677A423FC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3DE4B3-769D-3AC9-E372-E539E4E321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1BF34D-2407-396D-8D8F-1B2F200ED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3D1B2-AA8A-C2CC-8932-5D11B0AEB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9110DA-885F-8092-0B77-43FFE4049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79956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75C2E-2196-E08A-A136-BF6C66EE7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DCBEC9-D2EB-7FA1-8CCD-11EC6AD2B5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091F2B-E144-8014-63FB-68055B470E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3705B5-D43F-736B-4D07-9381450D1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E9FF6A-601F-8E94-B0D1-B042270D1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1EF86-C0D9-90F1-3977-8E311F9E5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514455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E7DAC-CCE0-6B52-E259-028AC36B6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2642DD-D663-0FDE-2877-219C6B5D1A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BBE21C-D302-295A-BAFC-8124D118CD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148E4-AF92-C482-744B-43AF547020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11CE90-924A-0AFB-B0CB-3575CC1B82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E963BC-918D-3835-A2DE-D95B59E84E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118852-0390-4F70-3B57-9C1A25DEF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DF8C11-5538-8034-51C7-CC1486938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4205178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C3467-C525-1FA0-B329-17F2E04C1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0D1176-4C86-9CB1-92CB-68B1A1FDF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A1A529-76C3-5593-D1D1-854EA755F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B7921-AA91-A3E6-DB47-61F865978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918782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CD2E9-C389-170B-36A2-FA93C6989C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319510-CDDD-1667-378B-24D26C9B0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58FF5A-746C-6EBE-6303-63AE05B39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597641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84FFF-4446-9D2B-EC01-20904B68F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AF1F49-38F9-787D-1DF5-151EF38AB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8EC29-4EF1-BACF-6773-EDC7EF55E6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BA8C65-28DE-F83F-A24C-CB6F5C767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B53026-1AFE-8AC1-A141-3FBF2E856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F15DC3-3963-36B0-EBE6-59E29C1A3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060108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4FB45-D203-BAE7-1EF7-0C4ECCA8A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AD62DB-C5D5-6018-1B09-F6C220A148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060760-3FAA-3BDA-6767-AFC8296FCD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DD5F82-E670-08F5-E056-A58C3FEA2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88E70-D5F2-9320-7B0A-F2B34A25E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626C8E-F7CA-5C31-25ED-8BFC9BFAC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3264581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0A4319A-482D-F99F-45FE-2495533B1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126606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B119F7-FE52-0DE8-57DD-6B357FF09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3225D4-26DB-0403-7923-5828AECC8D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65146-7CAB-4D88-C57F-5FD84EF04A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D236D3-B77D-8C45-835F-C67B8E9B23B8}" type="datetimeFigureOut">
              <a:rPr lang="en-AT" smtClean="0"/>
              <a:t>29.01.24</a:t>
            </a:fld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C0E857-7C74-378D-92CB-E06B8D2EA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A54894-B973-21B2-52AE-935610AD1D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15B1C5-72D6-194A-8525-07B054191785}" type="slidenum">
              <a:rPr lang="en-AT" smtClean="0"/>
              <a:t>‹#›</a:t>
            </a:fld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786744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16" Type="http://schemas.openxmlformats.org/officeDocument/2006/relationships/tags" Target="../tags/tag22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chart" Target="../charts/chart1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82" Type="http://schemas.openxmlformats.org/officeDocument/2006/relationships/chart" Target="../charts/chart4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oleObject" Target="../embeddings/oleObject6.bin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80" Type="http://schemas.openxmlformats.org/officeDocument/2006/relationships/chart" Target="../charts/chart2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image" Target="../media/image19.emf"/><Relationship Id="rId81" Type="http://schemas.openxmlformats.org/officeDocument/2006/relationships/chart" Target="../charts/chart3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slideLayout" Target="../slideLayouts/slideLayout1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B09D08-8F3A-5D37-29A6-EE07C8544D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286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FA9940D-E4B7-6F05-A58B-7D273C5319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9396" y="592932"/>
            <a:ext cx="3930709" cy="2903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7381A38-C425-9471-4D13-B8D0AC2FB2DF}"/>
              </a:ext>
            </a:extLst>
          </p:cNvPr>
          <p:cNvSpPr txBox="1"/>
          <p:nvPr/>
        </p:nvSpPr>
        <p:spPr>
          <a:xfrm>
            <a:off x="-66112" y="-13109"/>
            <a:ext cx="1605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etwork 201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74A0F3-7225-49FB-5FFF-DC357CBE135F}"/>
              </a:ext>
            </a:extLst>
          </p:cNvPr>
          <p:cNvSpPr/>
          <p:nvPr/>
        </p:nvSpPr>
        <p:spPr>
          <a:xfrm>
            <a:off x="1486810" y="322707"/>
            <a:ext cx="7498079" cy="6352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820F0E-1EBB-F83F-63A9-965595805794}"/>
              </a:ext>
            </a:extLst>
          </p:cNvPr>
          <p:cNvCxnSpPr>
            <a:cxnSpLocks/>
            <a:stCxn id="12" idx="0"/>
            <a:endCxn id="12" idx="2"/>
          </p:cNvCxnSpPr>
          <p:nvPr/>
        </p:nvCxnSpPr>
        <p:spPr>
          <a:xfrm>
            <a:off x="5235850" y="322707"/>
            <a:ext cx="0" cy="63520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AEB4717-BEFD-D281-0917-CA31C9F2F697}"/>
              </a:ext>
            </a:extLst>
          </p:cNvPr>
          <p:cNvCxnSpPr>
            <a:cxnSpLocks/>
            <a:stCxn id="12" idx="1"/>
            <a:endCxn id="12" idx="3"/>
          </p:cNvCxnSpPr>
          <p:nvPr/>
        </p:nvCxnSpPr>
        <p:spPr>
          <a:xfrm>
            <a:off x="1486810" y="3498750"/>
            <a:ext cx="749807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E50AAF34-D35A-2174-70D5-5CA7B8BE82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3265" y="3762051"/>
            <a:ext cx="3482649" cy="2871553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BF8D72A-BD41-12A1-F1D7-702B298CF76C}"/>
              </a:ext>
            </a:extLst>
          </p:cNvPr>
          <p:cNvSpPr/>
          <p:nvPr/>
        </p:nvSpPr>
        <p:spPr>
          <a:xfrm>
            <a:off x="148681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25997E-C6A7-2278-38F6-F994EEED04DD}"/>
              </a:ext>
            </a:extLst>
          </p:cNvPr>
          <p:cNvSpPr txBox="1"/>
          <p:nvPr/>
        </p:nvSpPr>
        <p:spPr>
          <a:xfrm>
            <a:off x="251808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Original Network 201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88CC77-63BD-6A0D-6EC5-DD2824122DE1}"/>
              </a:ext>
            </a:extLst>
          </p:cNvPr>
          <p:cNvSpPr/>
          <p:nvPr/>
        </p:nvSpPr>
        <p:spPr>
          <a:xfrm>
            <a:off x="523585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8A2DD0B-7CC0-8A7C-5987-B6EF06A98163}"/>
              </a:ext>
            </a:extLst>
          </p:cNvPr>
          <p:cNvSpPr txBox="1"/>
          <p:nvPr/>
        </p:nvSpPr>
        <p:spPr>
          <a:xfrm>
            <a:off x="626712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5AEBFE3-4B7A-6EB6-CFA2-AD2D319EB035}"/>
              </a:ext>
            </a:extLst>
          </p:cNvPr>
          <p:cNvSpPr/>
          <p:nvPr/>
        </p:nvSpPr>
        <p:spPr>
          <a:xfrm>
            <a:off x="1486810" y="3505675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C9026B-DC82-A3FF-4E36-9C388924AAF9}"/>
              </a:ext>
            </a:extLst>
          </p:cNvPr>
          <p:cNvSpPr txBox="1"/>
          <p:nvPr/>
        </p:nvSpPr>
        <p:spPr>
          <a:xfrm>
            <a:off x="2518088" y="3505675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3EC3A2B-FD75-F3B0-BCDB-886DD128E308}"/>
              </a:ext>
            </a:extLst>
          </p:cNvPr>
          <p:cNvSpPr/>
          <p:nvPr/>
        </p:nvSpPr>
        <p:spPr>
          <a:xfrm>
            <a:off x="5235849" y="350454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30FDD5-0130-6B3B-DAAC-A534E675ECF2}"/>
              </a:ext>
            </a:extLst>
          </p:cNvPr>
          <p:cNvSpPr txBox="1"/>
          <p:nvPr/>
        </p:nvSpPr>
        <p:spPr>
          <a:xfrm>
            <a:off x="6267127" y="350454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3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D394B15D-C924-08B6-5FF5-9FFC7B7AAD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4737" y="653957"/>
            <a:ext cx="3571264" cy="2841898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AD29A73-AAAC-84FF-8E84-4D679C26DF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6145" y="3800639"/>
            <a:ext cx="3537209" cy="2869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432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4E46F-D77C-0EEF-071B-EA5F8C043D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37E1CD-DD4C-B589-352E-41E0C5A8FA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1580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B09D08-8F3A-5D37-29A6-EE07C8544D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9019F6E-8A62-0336-EE7A-4B957552AC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583"/>
          <a:stretch/>
        </p:blipFill>
        <p:spPr>
          <a:xfrm>
            <a:off x="1681758" y="3787845"/>
            <a:ext cx="3055975" cy="288694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2548618-0B14-2762-B5A9-ABE87AA205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997" y="676852"/>
            <a:ext cx="3751851" cy="27506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139F02-0E20-4415-27A7-3F73823085DF}"/>
              </a:ext>
            </a:extLst>
          </p:cNvPr>
          <p:cNvSpPr txBox="1"/>
          <p:nvPr/>
        </p:nvSpPr>
        <p:spPr>
          <a:xfrm>
            <a:off x="-66112" y="-13109"/>
            <a:ext cx="1605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etwork 201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70C67C-ACF6-9B52-5B27-F01F9F384A65}"/>
              </a:ext>
            </a:extLst>
          </p:cNvPr>
          <p:cNvSpPr/>
          <p:nvPr/>
        </p:nvSpPr>
        <p:spPr>
          <a:xfrm>
            <a:off x="1486810" y="322707"/>
            <a:ext cx="7498079" cy="6352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A6D4E62-8424-EC39-4632-97472885A082}"/>
              </a:ext>
            </a:extLst>
          </p:cNvPr>
          <p:cNvCxnSpPr>
            <a:cxnSpLocks/>
            <a:stCxn id="12" idx="0"/>
            <a:endCxn id="12" idx="2"/>
          </p:cNvCxnSpPr>
          <p:nvPr/>
        </p:nvCxnSpPr>
        <p:spPr>
          <a:xfrm>
            <a:off x="5235850" y="322707"/>
            <a:ext cx="0" cy="63520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24C89A8-0536-81A5-FEF1-2E646972E079}"/>
              </a:ext>
            </a:extLst>
          </p:cNvPr>
          <p:cNvCxnSpPr>
            <a:cxnSpLocks/>
            <a:stCxn id="12" idx="1"/>
            <a:endCxn id="12" idx="3"/>
          </p:cNvCxnSpPr>
          <p:nvPr/>
        </p:nvCxnSpPr>
        <p:spPr>
          <a:xfrm>
            <a:off x="1486810" y="3498750"/>
            <a:ext cx="749807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D5001F23-CF86-BE08-9D0D-196833DC893C}"/>
              </a:ext>
            </a:extLst>
          </p:cNvPr>
          <p:cNvSpPr/>
          <p:nvPr/>
        </p:nvSpPr>
        <p:spPr>
          <a:xfrm>
            <a:off x="148681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4507B29-1605-A19F-E418-6D88D62BCAE9}"/>
              </a:ext>
            </a:extLst>
          </p:cNvPr>
          <p:cNvSpPr txBox="1"/>
          <p:nvPr/>
        </p:nvSpPr>
        <p:spPr>
          <a:xfrm>
            <a:off x="251808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Original Network 201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F13851-16E3-8E9E-CE74-609A085D4954}"/>
              </a:ext>
            </a:extLst>
          </p:cNvPr>
          <p:cNvSpPr/>
          <p:nvPr/>
        </p:nvSpPr>
        <p:spPr>
          <a:xfrm>
            <a:off x="523585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598CE4-2BFD-A7B5-90FF-847D67CFBFB8}"/>
              </a:ext>
            </a:extLst>
          </p:cNvPr>
          <p:cNvSpPr txBox="1"/>
          <p:nvPr/>
        </p:nvSpPr>
        <p:spPr>
          <a:xfrm>
            <a:off x="626712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6D76F5A-4C6A-D920-CF1B-FA79503E2362}"/>
              </a:ext>
            </a:extLst>
          </p:cNvPr>
          <p:cNvSpPr/>
          <p:nvPr/>
        </p:nvSpPr>
        <p:spPr>
          <a:xfrm>
            <a:off x="1486810" y="3505675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297B3E-032B-0B0D-171F-2D17D9D61C4E}"/>
              </a:ext>
            </a:extLst>
          </p:cNvPr>
          <p:cNvSpPr txBox="1"/>
          <p:nvPr/>
        </p:nvSpPr>
        <p:spPr>
          <a:xfrm>
            <a:off x="2518088" y="3505675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BC43F4-650D-DAF5-1619-08D6A9D78E65}"/>
              </a:ext>
            </a:extLst>
          </p:cNvPr>
          <p:cNvSpPr/>
          <p:nvPr/>
        </p:nvSpPr>
        <p:spPr>
          <a:xfrm>
            <a:off x="5235849" y="350454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5D1722C-7C5B-5ECF-D98E-DD9F18E2FB1D}"/>
              </a:ext>
            </a:extLst>
          </p:cNvPr>
          <p:cNvSpPr txBox="1"/>
          <p:nvPr/>
        </p:nvSpPr>
        <p:spPr>
          <a:xfrm>
            <a:off x="6267127" y="350454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66E515-330E-B51B-CEE8-7DFD75EDBE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79199" y="623682"/>
            <a:ext cx="3652834" cy="28499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02F33A-20AE-5BEF-C1AA-C9F6739541D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409" b="7845"/>
          <a:stretch/>
        </p:blipFill>
        <p:spPr>
          <a:xfrm>
            <a:off x="5397416" y="3798105"/>
            <a:ext cx="3269177" cy="285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29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196A3-931D-C06F-A4BA-FF17184F2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B5B5A5-DF51-1BE0-C623-3F69FB51D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37E1CD-DD4C-B589-352E-41E0C5A8FA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87A2B9B-E065-ACA8-3316-2FB148362878}"/>
              </a:ext>
            </a:extLst>
          </p:cNvPr>
          <p:cNvSpPr txBox="1"/>
          <p:nvPr/>
        </p:nvSpPr>
        <p:spPr>
          <a:xfrm>
            <a:off x="-66112" y="-13109"/>
            <a:ext cx="1605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etwork 201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751B0C6-6215-2D92-13E1-9DF09EEB5BA3}"/>
              </a:ext>
            </a:extLst>
          </p:cNvPr>
          <p:cNvSpPr/>
          <p:nvPr/>
        </p:nvSpPr>
        <p:spPr>
          <a:xfrm>
            <a:off x="1486810" y="322707"/>
            <a:ext cx="7498079" cy="6352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27180C0-21C5-7670-1480-4421E83FFB09}"/>
              </a:ext>
            </a:extLst>
          </p:cNvPr>
          <p:cNvCxnSpPr>
            <a:cxnSpLocks/>
            <a:stCxn id="12" idx="0"/>
            <a:endCxn id="12" idx="2"/>
          </p:cNvCxnSpPr>
          <p:nvPr/>
        </p:nvCxnSpPr>
        <p:spPr>
          <a:xfrm>
            <a:off x="5235850" y="322707"/>
            <a:ext cx="0" cy="63520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162E702-A16F-5E8B-F95F-9958B039649B}"/>
              </a:ext>
            </a:extLst>
          </p:cNvPr>
          <p:cNvCxnSpPr>
            <a:cxnSpLocks/>
            <a:stCxn id="12" idx="1"/>
            <a:endCxn id="12" idx="3"/>
          </p:cNvCxnSpPr>
          <p:nvPr/>
        </p:nvCxnSpPr>
        <p:spPr>
          <a:xfrm>
            <a:off x="1486810" y="3498750"/>
            <a:ext cx="749807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BCD81956-A386-FD2D-F9FD-6A5A71673932}"/>
              </a:ext>
            </a:extLst>
          </p:cNvPr>
          <p:cNvSpPr/>
          <p:nvPr/>
        </p:nvSpPr>
        <p:spPr>
          <a:xfrm>
            <a:off x="148681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EC3A27-B4D0-5214-C5D3-B036CCAA0851}"/>
              </a:ext>
            </a:extLst>
          </p:cNvPr>
          <p:cNvSpPr txBox="1"/>
          <p:nvPr/>
        </p:nvSpPr>
        <p:spPr>
          <a:xfrm>
            <a:off x="251808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Original Network 2016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666447-9BC8-1EB7-9A8D-49F142467429}"/>
              </a:ext>
            </a:extLst>
          </p:cNvPr>
          <p:cNvSpPr/>
          <p:nvPr/>
        </p:nvSpPr>
        <p:spPr>
          <a:xfrm>
            <a:off x="523585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475A4A5-C507-9B85-B4C5-3F23F6673207}"/>
              </a:ext>
            </a:extLst>
          </p:cNvPr>
          <p:cNvSpPr txBox="1"/>
          <p:nvPr/>
        </p:nvSpPr>
        <p:spPr>
          <a:xfrm>
            <a:off x="626712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E25F05-9371-6BB9-6EF1-0C73CA7AE2EF}"/>
              </a:ext>
            </a:extLst>
          </p:cNvPr>
          <p:cNvSpPr/>
          <p:nvPr/>
        </p:nvSpPr>
        <p:spPr>
          <a:xfrm>
            <a:off x="1486810" y="3505675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AD607A9-731F-F8C1-0DFE-C799B216372C}"/>
              </a:ext>
            </a:extLst>
          </p:cNvPr>
          <p:cNvSpPr txBox="1"/>
          <p:nvPr/>
        </p:nvSpPr>
        <p:spPr>
          <a:xfrm>
            <a:off x="2518088" y="3505675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74981C-A8DF-59D2-016B-38B3EDB306C6}"/>
              </a:ext>
            </a:extLst>
          </p:cNvPr>
          <p:cNvSpPr/>
          <p:nvPr/>
        </p:nvSpPr>
        <p:spPr>
          <a:xfrm>
            <a:off x="5235849" y="350454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FC5C8BC-E9C4-C726-C6C2-763A91528933}"/>
              </a:ext>
            </a:extLst>
          </p:cNvPr>
          <p:cNvSpPr txBox="1"/>
          <p:nvPr/>
        </p:nvSpPr>
        <p:spPr>
          <a:xfrm>
            <a:off x="6267127" y="350454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FD82ED-BB2E-0B80-73D1-D5A0419E0F1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967"/>
          <a:stretch/>
        </p:blipFill>
        <p:spPr>
          <a:xfrm>
            <a:off x="1651389" y="654461"/>
            <a:ext cx="3383226" cy="27478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3C4EDE0-EBB3-F6E5-A74C-F5E8A51605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4563" y="629938"/>
            <a:ext cx="3471532" cy="28185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0E0D5A1-5BE8-3BFD-9A35-181FDA5A46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7948" y="3812446"/>
            <a:ext cx="2653589" cy="28120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124D5BA-F0F0-3010-6698-B6624E6214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1998" y="3788266"/>
            <a:ext cx="3298664" cy="287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173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8B538-48C9-FBF9-3067-A674B41F8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B18CF5-6505-BAE2-2087-A5C9036A7C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396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B5B5A5-DF51-1BE0-C623-3F69FB51D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FC17DE4-1876-6705-AE1E-F096A6E6A8EB}"/>
              </a:ext>
            </a:extLst>
          </p:cNvPr>
          <p:cNvSpPr txBox="1"/>
          <p:nvPr/>
        </p:nvSpPr>
        <p:spPr>
          <a:xfrm>
            <a:off x="-66112" y="-13109"/>
            <a:ext cx="1605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etwork 202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40121E-FCBB-CE60-6D74-1C8FD4866AB1}"/>
              </a:ext>
            </a:extLst>
          </p:cNvPr>
          <p:cNvSpPr/>
          <p:nvPr/>
        </p:nvSpPr>
        <p:spPr>
          <a:xfrm>
            <a:off x="1486810" y="322707"/>
            <a:ext cx="7498079" cy="6352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CD5DAD-8EBA-C957-E790-2BDA0AD7F73C}"/>
              </a:ext>
            </a:extLst>
          </p:cNvPr>
          <p:cNvCxnSpPr>
            <a:cxnSpLocks/>
            <a:stCxn id="12" idx="0"/>
            <a:endCxn id="12" idx="2"/>
          </p:cNvCxnSpPr>
          <p:nvPr/>
        </p:nvCxnSpPr>
        <p:spPr>
          <a:xfrm>
            <a:off x="5235850" y="322707"/>
            <a:ext cx="0" cy="635208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9FEC12-90DD-DAEF-BE00-C50A27415430}"/>
              </a:ext>
            </a:extLst>
          </p:cNvPr>
          <p:cNvCxnSpPr>
            <a:cxnSpLocks/>
            <a:stCxn id="12" idx="1"/>
            <a:endCxn id="12" idx="3"/>
          </p:cNvCxnSpPr>
          <p:nvPr/>
        </p:nvCxnSpPr>
        <p:spPr>
          <a:xfrm>
            <a:off x="1486810" y="3498750"/>
            <a:ext cx="749807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29319BB0-96EA-0C14-909D-5FCC44607D59}"/>
              </a:ext>
            </a:extLst>
          </p:cNvPr>
          <p:cNvSpPr/>
          <p:nvPr/>
        </p:nvSpPr>
        <p:spPr>
          <a:xfrm>
            <a:off x="148681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6AA629-2D82-5891-FFF2-C96A4F83339F}"/>
              </a:ext>
            </a:extLst>
          </p:cNvPr>
          <p:cNvSpPr txBox="1"/>
          <p:nvPr/>
        </p:nvSpPr>
        <p:spPr>
          <a:xfrm>
            <a:off x="251808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Original Network 202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780A990-AA6E-C02B-E022-8EF65D70856E}"/>
              </a:ext>
            </a:extLst>
          </p:cNvPr>
          <p:cNvSpPr/>
          <p:nvPr/>
        </p:nvSpPr>
        <p:spPr>
          <a:xfrm>
            <a:off x="5235850" y="32963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354C39-587A-0BF8-8FFE-777E7B302CE3}"/>
              </a:ext>
            </a:extLst>
          </p:cNvPr>
          <p:cNvSpPr txBox="1"/>
          <p:nvPr/>
        </p:nvSpPr>
        <p:spPr>
          <a:xfrm>
            <a:off x="6267128" y="32963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7487294-5E54-445F-308D-E57BCA9D0151}"/>
              </a:ext>
            </a:extLst>
          </p:cNvPr>
          <p:cNvSpPr/>
          <p:nvPr/>
        </p:nvSpPr>
        <p:spPr>
          <a:xfrm>
            <a:off x="1486810" y="3505675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024C9D-EB98-F0D8-E76C-5D5A7D08DED9}"/>
              </a:ext>
            </a:extLst>
          </p:cNvPr>
          <p:cNvSpPr txBox="1"/>
          <p:nvPr/>
        </p:nvSpPr>
        <p:spPr>
          <a:xfrm>
            <a:off x="2518088" y="3505675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153D90A-EA82-0BD2-E81D-E4C906258A0C}"/>
              </a:ext>
            </a:extLst>
          </p:cNvPr>
          <p:cNvSpPr/>
          <p:nvPr/>
        </p:nvSpPr>
        <p:spPr>
          <a:xfrm>
            <a:off x="5235849" y="3504542"/>
            <a:ext cx="3749039" cy="2575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38C466-55E9-6FC8-548D-9F679928F957}"/>
              </a:ext>
            </a:extLst>
          </p:cNvPr>
          <p:cNvSpPr txBox="1"/>
          <p:nvPr/>
        </p:nvSpPr>
        <p:spPr>
          <a:xfrm>
            <a:off x="6267127" y="3504542"/>
            <a:ext cx="184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AE3FE1-B434-0B1B-6B98-F8977A2F54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42840" y="715070"/>
            <a:ext cx="3084242" cy="27454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0D260D1-32FE-93DA-0883-3A983372D2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7633" y="1464815"/>
            <a:ext cx="3519351" cy="148487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21063D0-8C68-ACCD-5541-8800E983CF5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774"/>
          <a:stretch/>
        </p:blipFill>
        <p:spPr>
          <a:xfrm>
            <a:off x="1604926" y="3820377"/>
            <a:ext cx="3399177" cy="282816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F8138CEE-5FF6-E96B-7188-552B570B90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7416" y="3812319"/>
            <a:ext cx="3321811" cy="2833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2402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1F071C-87D0-3AE4-A55E-A64E76723D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81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7772400" imgH="10058400" progId="TCLayout.ActiveDocument.1">
                  <p:embed/>
                </p:oleObj>
              </mc:Choice>
              <mc:Fallback>
                <p:oleObj name="think-cell Slide" r:id="rId7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3812E42-E61F-8156-4E62-D3E3AFB67B54}"/>
              </a:ext>
            </a:extLst>
          </p:cNvPr>
          <p:cNvSpPr/>
          <p:nvPr/>
        </p:nvSpPr>
        <p:spPr>
          <a:xfrm>
            <a:off x="1139825" y="-14288"/>
            <a:ext cx="7497763" cy="2571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C7C29B-1520-63FF-2D03-34C11F2F7562}"/>
              </a:ext>
            </a:extLst>
          </p:cNvPr>
          <p:cNvSpPr/>
          <p:nvPr/>
        </p:nvSpPr>
        <p:spPr>
          <a:xfrm>
            <a:off x="1139825" y="-14288"/>
            <a:ext cx="7497763" cy="191611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B350C9-067E-2965-DDCC-B61DDE8AE4D6}"/>
              </a:ext>
            </a:extLst>
          </p:cNvPr>
          <p:cNvSpPr txBox="1"/>
          <p:nvPr/>
        </p:nvSpPr>
        <p:spPr>
          <a:xfrm>
            <a:off x="4164013" y="-39688"/>
            <a:ext cx="184785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Cluster Statistics</a:t>
            </a:r>
          </a:p>
        </p:txBody>
      </p:sp>
      <p:graphicFrame>
        <p:nvGraphicFramePr>
          <p:cNvPr id="267" name="Chart 266">
            <a:extLst>
              <a:ext uri="{FF2B5EF4-FFF2-40B4-BE49-F238E27FC236}">
                <a16:creationId xmlns:a16="http://schemas.microsoft.com/office/drawing/2014/main" id="{9894B5A8-D2CC-FA8B-8E59-F85DFAB1163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703563"/>
              </p:ext>
            </p:extLst>
          </p:nvPr>
        </p:nvGraphicFramePr>
        <p:xfrm>
          <a:off x="1225550" y="611188"/>
          <a:ext cx="7316788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53CE0F5-52DC-4F59-62BF-521029041BF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740150" y="1708150"/>
            <a:ext cx="498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6F03861-16C0-4847-A8D2-A1E7C01C47CE}" type="datetime'''''''''''Cl''''''u''''''s''''''''''te''r'''' ''''''''''1 '">
              <a:rPr lang="en-GB" altLang="en-US" sz="1000" smtClean="0"/>
              <a:pPr/>
              <a:t>Cluster 1 </a:t>
            </a:fld>
            <a:endParaRPr lang="en-GB" sz="10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62199F9-8CBA-B3BA-8475-4D91C113BE4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541963" y="1708150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B9D229B-D46E-4702-9399-ABD3E6FEBDDE}" type="datetime'C''''''''l''u''''s''te''''''''''r'''''''''''''''''''''' 2'''''">
              <a:rPr lang="en-GB" altLang="en-US" sz="1000" smtClean="0"/>
              <a:pPr/>
              <a:t>Cluster 2</a:t>
            </a:fld>
            <a:endParaRPr lang="en-GB" sz="10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8CF643C-651A-C125-82C5-647858FBA28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329488" y="1708150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1A416AF-878A-4E44-8423-994119EE22C4}" type="datetime'''Cl''''''''u''''''''''s''''t''''''''''e''''''''r ''''''''''3'">
              <a:rPr lang="en-GB" altLang="en-US" sz="1000" smtClean="0"/>
              <a:pPr/>
              <a:t>Cluster 3</a:t>
            </a:fld>
            <a:endParaRPr lang="en-GB" sz="10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9BBD05F9-A916-DD0F-A541-6725F2B2D27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681662" y="1503364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2568EB-D6C2-4A3D-AFE8-9B0C5D8EE4B2}" type="datetime'''''''0''''''''''''''''''''''''''''''''''''''%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E8AD86A5-1B42-C4B9-ED72-9A5BE647BB0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153149" y="1503364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EDA6990-2906-425F-9E3D-CAD34DD40023}" type="datetime'''''''''''''''''''''0''''''''''''''%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A5143E0C-9C7C-AD13-FB69-54195F14B7A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999287" y="1503364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7966366-7A0B-4629-B75D-88C3E2298239}" type="datetime'0''''''''''''''''''''''''''''''''''''%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414A5407-BF31-D6D8-D8CB-7BAAB55118B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469187" y="1503363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6A7DFC6-4833-4FE1-B324-E78978EA7DC8}" type="datetime'''''''''''''''''''''''''''''''''''''''0''''''''''''''%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D1923E2-0A23-B9C4-FAA2-21DB5230352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722438" y="1708150"/>
            <a:ext cx="957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A5BB300-5657-4D79-B3F2-F3D664758379}" type="datetime'O''''''rign''''''''''''i''n''''''''a''''l ''Net''w''o''''r''k'">
              <a:rPr lang="en-GB" altLang="en-US" sz="1000" smtClean="0"/>
              <a:pPr/>
              <a:t>Origninal Network</a:t>
            </a:fld>
            <a:endParaRPr lang="en-GB" sz="1000" dirty="0"/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27C575CA-262F-25A8-788E-71109A16DDF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073275" y="1093789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E743DD-C3D8-452C-8272-5DA228728EE9}" type="datetime'''''''''''''4''''''''''''''''''2''''''''''''''%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2%</a:t>
            </a:fld>
            <a:endParaRPr lang="en-GB" sz="1000" dirty="0"/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061B702A-B6D2-4AFF-510C-69BEEDFED8A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576513" y="1427164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6342345-F066-4FE1-8924-46276A66F399}" type="datetime'''''''''''''''''''''''''''''''''8''%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GB" sz="1000" dirty="0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E3E052B5-2642-DB2F-3990-B031BF81A35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3422650" y="146050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9F9D933-2D07-4479-85E8-C6F73D9ABBC8}" type="datetime'''''''''''''''''''''''''4''''''''%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GB" sz="1000" dirty="0"/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C7BB4332-BA1B-5075-86AC-CF84EFE20F3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862388" y="59531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9F39A8-FD18-431D-BFBC-803798688F0C}" type="datetime'''''''9''''''''''''''''''''''''''''''3''%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3%</a:t>
            </a:fld>
            <a:endParaRPr lang="en-GB" sz="1000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1B4FA062-1892-87A9-4F35-334B4B6B9D9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364038" y="1482726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17FE49C-C3FD-4775-9D88-2B785CDF1B78}" type="datetime'''''''2''''''''''''''''''''''''''''''''''''''%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GB" sz="1000" dirty="0"/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F4997BBD-FD06-0805-07BA-3F94BD11DE4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146675" y="531814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E71E73D-5EED-4412-8B64-F3C7F3C8CDAD}" type="datetime'''1''''0''''0''''%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GB" sz="1000" dirty="0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82ACA61C-0DAD-56EA-DAC2-3C42463ECE1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7875588" y="531814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6F3638E-549F-4F48-888A-C92A6F3028A5}" type="datetime'''1''''''''''0''''''''0''''''''''''''''''%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GB" sz="1000" dirty="0"/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F1567018-0B4F-C01A-C79D-E967CFC6CA7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603375" y="1017589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A3F70-5C6D-44BE-A576-84B5E42D5045}" type="datetime'''''''''''''50''''''''''''''''''''''''''''''''''''''''''''''%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GB" sz="1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7B59219-67A7-B1CE-3E72-A54D73958A65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248400" y="319088"/>
            <a:ext cx="179388" cy="133350"/>
          </a:xfrm>
          <a:prstGeom prst="rect">
            <a:avLst/>
          </a:prstGeom>
          <a:solidFill>
            <a:srgbClr val="AA98E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F997CDD-AEAD-2892-8E50-24DEBC8CF9C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053263" y="319088"/>
            <a:ext cx="179388" cy="133350"/>
          </a:xfrm>
          <a:prstGeom prst="rect">
            <a:avLst/>
          </a:prstGeom>
          <a:solidFill>
            <a:srgbClr val="FF9E3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CA0E6F1-B25D-4917-ED3A-46EB490E5B2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986713" y="319088"/>
            <a:ext cx="179388" cy="133350"/>
          </a:xfrm>
          <a:prstGeom prst="rect">
            <a:avLst/>
          </a:prstGeom>
          <a:solidFill>
            <a:srgbClr val="02BF5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2336634-3ED0-A8D9-DF5C-0F7F4B84836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478588" y="327025"/>
            <a:ext cx="4730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F38F7C99-BBA2-44AD-BC06-A0D9DCA0A02B}" type="datetime'G''''''''''''''''er''ma''''''''''n''y'''''''''">
              <a:rPr lang="en-GB" altLang="en-US" sz="1000" smtClean="0">
                <a:effectLst/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Germany</a:t>
            </a:fld>
            <a:endParaRPr lang="en-GB" sz="10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08CFBFA-9F2F-5BB4-C5E6-AD91EC7FD2A3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283450" y="327025"/>
            <a:ext cx="601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B3312BFD-F011-42B7-A9FF-168CAC9F90FF}" type="datetime'''''''''''S''wit''''''zer''''''l''''''''''an''''''d'">
              <a:rPr lang="en-GB" altLang="en-US" sz="1000" smtClean="0"/>
              <a:pPr/>
              <a:t>Switzerland</a:t>
            </a:fld>
            <a:endParaRPr lang="en-GB" sz="10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BE92377-2B0B-3D81-A16E-7959FCFCE6C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8216900" y="327025"/>
            <a:ext cx="365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E8075C2-506D-4B6D-950A-BDD4790697BA}" type="datetime'''''''''A''''u''''''''''''''s''''''''''''''t''''r''i''''a'">
              <a:rPr lang="en-GB" altLang="en-US" sz="1000" smtClean="0"/>
              <a:pPr/>
              <a:t>Austria</a:t>
            </a:fld>
            <a:endParaRPr lang="en-GB" sz="1000" dirty="0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D0077C8-A8F3-CFC3-89DE-326FBC69B533}"/>
              </a:ext>
            </a:extLst>
          </p:cNvPr>
          <p:cNvSpPr/>
          <p:nvPr/>
        </p:nvSpPr>
        <p:spPr>
          <a:xfrm>
            <a:off x="1135060" y="1911350"/>
            <a:ext cx="7497763" cy="1647825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C738D6B-09C9-98FD-8C5A-9A430C08961F}"/>
              </a:ext>
            </a:extLst>
          </p:cNvPr>
          <p:cNvSpPr/>
          <p:nvPr/>
        </p:nvSpPr>
        <p:spPr>
          <a:xfrm>
            <a:off x="1135060" y="3560763"/>
            <a:ext cx="7497763" cy="164941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86F78EE-81A1-9A71-2AD6-81CF183B57B5}"/>
              </a:ext>
            </a:extLst>
          </p:cNvPr>
          <p:cNvSpPr/>
          <p:nvPr/>
        </p:nvSpPr>
        <p:spPr>
          <a:xfrm>
            <a:off x="1135060" y="5208588"/>
            <a:ext cx="7497763" cy="164941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68" name="Chart 267">
            <a:extLst>
              <a:ext uri="{FF2B5EF4-FFF2-40B4-BE49-F238E27FC236}">
                <a16:creationId xmlns:a16="http://schemas.microsoft.com/office/drawing/2014/main" id="{DFE1F270-D969-7878-8952-03F1ACD68F3C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432646780"/>
              </p:ext>
            </p:extLst>
          </p:nvPr>
        </p:nvGraphicFramePr>
        <p:xfrm>
          <a:off x="1225550" y="2132013"/>
          <a:ext cx="7316788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3BBD17C-AA72-25FE-3EAD-58287824FE4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3740150" y="3228975"/>
            <a:ext cx="498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4178479-1C39-4413-B0AF-7717497E4B99}" type="datetime'''''C''lu''s''''''''te''r 1'''''''''''''''''''''''''' '''''''">
              <a:rPr lang="en-GB" altLang="en-US" sz="1000" smtClean="0"/>
              <a:pPr/>
              <a:t>Cluster 1 </a:t>
            </a:fld>
            <a:endParaRPr lang="en-GB" sz="10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7A008854-78A5-E1A7-0957-59C5CF83A00B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541963" y="3228975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BC6225E-CA22-46E6-8A0E-0F6D525BBE2E}" type="datetime'''C''''l''''u''''''''st''''e''''''r ''''''''2'''''''''''''">
              <a:rPr lang="en-GB" altLang="en-US" sz="1000" smtClean="0"/>
              <a:pPr/>
              <a:t>Cluster 2</a:t>
            </a:fld>
            <a:endParaRPr lang="en-GB" sz="10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AADA4427-C5C7-E763-8885-6F346F4475E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329488" y="3228975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7A28128-A0C7-4DA0-868E-1A81479342DD}" type="datetime'C''''''l''''''us''''''t''e''''''r'''' ''''''''''3'''">
              <a:rPr lang="en-GB" altLang="en-US" sz="1000" smtClean="0"/>
              <a:pPr/>
              <a:t>Cluster 3</a:t>
            </a:fld>
            <a:endParaRPr lang="en-GB" sz="10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5B019406-BBC1-9554-0A79-655B12048ED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3357563" y="2052638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6941804-95AF-4AB9-B73E-D9D38E1F794E}" type="datetime'''1''''''''00''''''''''''''''%'''">
              <a:rPr lang="en-GB" altLang="en-US" sz="1000" smtClean="0"/>
              <a:pPr/>
              <a:t>100%</a:t>
            </a:fld>
            <a:endParaRPr lang="en-GB" sz="10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AB7821FD-BB02-356B-B1B9-82BBDAA3270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3894137" y="302418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22F4BC6-03CF-4F4A-B131-18E182306A61}" type="datetime'''''''''''''''''''''''''0''''''''''''''''%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F18E1016-108B-45F4-23E2-4FD1B1F2C24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4364037" y="302418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8FE998E-E8C2-4E10-8B3E-554C4C976B6F}" type="datetime'''''''''''''''''0''''''''%''''''''''''''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208E3826-EA23-8FA9-1439-F9CE625906E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5211763" y="3024188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E26F0E7-BEA9-46C8-BC1B-941C3031804C}" type="datetime'''''''''''''''''''''''''''''''''''''''''0''''''%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5DFA6F0-9FEF-1B11-2583-F6CC778C767B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1722438" y="3228975"/>
            <a:ext cx="957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12939C9-05A4-4C7D-88A6-27F313DEA711}" type="datetime'Or''''''''i''''g''ni''''''''n''a''''''''''l N''etwo''''rk'">
              <a:rPr lang="en-GB" altLang="en-US" sz="1000" smtClean="0"/>
              <a:pPr/>
              <a:t>Origninal Network</a:t>
            </a:fld>
            <a:endParaRPr lang="en-GB" sz="1000" dirty="0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ECFD66ED-8051-C421-96E3-CD5FD3DE6E45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6967538" y="2586038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E61CB9-0A6D-45FE-9FBA-0F0DA5B6BCB3}" type="datetime'4''5%'''''''''''''''''''''''''''''''''''''''''''''">
              <a:rPr lang="en-GB" altLang="en-US" sz="1000" smtClean="0"/>
              <a:pPr/>
              <a:t>45%</a:t>
            </a:fld>
            <a:endParaRPr lang="en-GB" sz="1000" dirty="0"/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18FDDCE2-A8BA-9EA6-200A-7FFBB30AAC2D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1603375" y="2528889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7A47C51-CF98-4DB1-9566-9D811B2B5731}" type="datetime'5''''''''''''''''''''''1''''''''''''''''''''''''%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1%</a:t>
            </a:fld>
            <a:endParaRPr lang="en-GB" sz="1000" dirty="0"/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44B63A3F-FE68-2658-2F84-8B596C32CAEE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2073275" y="2625726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61BA807-D98A-46CC-8274-DF1A9AAD5DA6}" type="datetime'''4''''''''''''''''''1''''''''''''''''''%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1%</a:t>
            </a:fld>
            <a:endParaRPr lang="en-GB" sz="1000" dirty="0"/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04C0D469-9D68-B23C-3A81-1847231EB2AE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2576513" y="294640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FE2DAD0-9482-4EF6-B898-FAA5D98396A4}" type="datetime'''''''''''8''''''''''''''%''''''''''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GB" sz="1000" dirty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B8407A43-9D49-8997-D113-D3E804C8E267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616575" y="2052639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C6EDF7F-5EB7-473B-97C1-2397570F639C}" type="datetime'''1''''''''''''''''''00''''''''''''''''%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GB" sz="1000" dirty="0"/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D855A5D9-BF10-3FF3-FADA-00D478F3348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437438" y="274161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1A8C2F-C4DC-4131-9B4D-692324E445CE}" type="datetime'''''''''''''''''''''''''''2''''''''''''''''9''''%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GB" sz="1000" dirty="0"/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41604043-503E-2F84-C0D6-204AE549F9D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7908925" y="277336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8636CE2-EE18-4860-8BA9-A19EEF953477}" type="datetime'''''''''''''''2''''''6''''''''''''''''''''''''''''''''''''%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en-GB" sz="1000" dirty="0"/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100471E1-72DC-8643-7C87-77BA6EF0BA9F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6153149" y="3024188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37498F-668C-4CF6-BD61-117E558E43DB}" type="datetime'''0''''''''''''''''''''''''''''''''''%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graphicFrame>
        <p:nvGraphicFramePr>
          <p:cNvPr id="315" name="Chart 314">
            <a:extLst>
              <a:ext uri="{FF2B5EF4-FFF2-40B4-BE49-F238E27FC236}">
                <a16:creationId xmlns:a16="http://schemas.microsoft.com/office/drawing/2014/main" id="{0DDF4DDD-5640-FDAE-5A3B-8DAB84BC5948}"/>
              </a:ext>
            </a:extLst>
          </p:cNvPr>
          <p:cNvGraphicFramePr/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16016327"/>
              </p:ext>
            </p:extLst>
          </p:nvPr>
        </p:nvGraphicFramePr>
        <p:xfrm>
          <a:off x="1225550" y="3844925"/>
          <a:ext cx="7316788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C821073-0B27-3ADB-4451-9A8E25DEC63D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3740150" y="4941888"/>
            <a:ext cx="498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2005F7-3236-45CC-8085-315988144035}" type="datetime'C''''''''l''''u''s''t''''''''''er'''''' ''''''''''''1'' '''">
              <a:rPr lang="en-GB" altLang="en-US" sz="1000" smtClean="0"/>
              <a:pPr/>
              <a:t>Cluster 1 </a:t>
            </a:fld>
            <a:endParaRPr lang="en-GB" sz="1000" dirty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F6499112-A98E-85A5-9C68-355857378CC5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5541963" y="4941888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55B223F-32C5-45F1-8A06-4895CB9C8A5B}" type="datetime'C''l''''''''''''''''''''''''''''''''''''u''''s''te''''r 2'''">
              <a:rPr lang="en-GB" altLang="en-US" sz="1000" smtClean="0"/>
              <a:pPr/>
              <a:t>Cluster 2</a:t>
            </a:fld>
            <a:endParaRPr lang="en-GB" sz="10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3BF9A289-A982-1277-E87E-C29779683FCB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7329488" y="4941888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C3A5602-5D20-43C8-93C8-9821B5D81308}" type="datetime'''C''''''''''l''''u''''''''''''''''ste''''''''r'''''' 3'''''">
              <a:rPr lang="en-GB" altLang="en-US" sz="1000" smtClean="0"/>
              <a:pPr/>
              <a:t>Cluster 3</a:t>
            </a:fld>
            <a:endParaRPr lang="en-GB" sz="10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A91CD16C-6056-EEC4-FDEA-794B9C668755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3357563" y="3765550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8B68426-35D0-4E7D-AF7C-D232E64E7F73}" type="datetime'''''''''''''''''''''''''''10''''''''''''''0''''''''%'''''''">
              <a:rPr lang="en-GB" altLang="en-US" sz="1000" smtClean="0"/>
              <a:pPr/>
              <a:t>100%</a:t>
            </a:fld>
            <a:endParaRPr lang="en-GB" sz="1000" dirty="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77F102A9-7B1D-63D9-7721-CFEF1B79951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3894137" y="473710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C166641-BC80-4DD9-96FD-D1F43802CAA5}" type="datetime'''''''''0''''''''''''''''''''''''''''''%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8B59B186-0022-47D5-F050-AE061FBA96DD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4364037" y="473710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9DAD41-93F6-4197-BBE5-7F7A2D42BEF7}" type="datetime'''''''''''''''0''''''''''''''''''''''''''''''''''%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F0033071-4F01-3107-4498-3BBB46227F5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5681662" y="4737100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795299E-ECC2-49E8-B067-8F0535D43527}" type="datetime'''''''''''0%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B4740BBD-3F15-659A-D852-338165E925D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722438" y="4941888"/>
            <a:ext cx="957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ECC510-48C4-4E58-AA33-33CBBCB6042F}" type="datetime'''''Orig''n''in''a''l ''''Ne''''''t''''''''''wor''''''k'">
              <a:rPr lang="en-GB" altLang="en-US" sz="1000" smtClean="0"/>
              <a:pPr/>
              <a:t>Origninal Network</a:t>
            </a:fld>
            <a:endParaRPr lang="en-GB" sz="1000" dirty="0"/>
          </a:p>
        </p:txBody>
      </p:sp>
      <p:sp>
        <p:nvSpPr>
          <p:cNvPr id="301" name="Text Placeholder 2">
            <a:extLst>
              <a:ext uri="{FF2B5EF4-FFF2-40B4-BE49-F238E27FC236}">
                <a16:creationId xmlns:a16="http://schemas.microsoft.com/office/drawing/2014/main" id="{025683C5-0C44-BA71-95D5-22D2EE20F0E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6999287" y="473710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6ABE6C-6358-42C7-BC9E-2BFF3F6F9B07}" type="datetime'''0''''''''''''''''''''''%''''''''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308" name="Text Placeholder 2">
            <a:extLst>
              <a:ext uri="{FF2B5EF4-FFF2-40B4-BE49-F238E27FC236}">
                <a16:creationId xmlns:a16="http://schemas.microsoft.com/office/drawing/2014/main" id="{36D4F9B5-A155-42EB-B959-A0A974F79D7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603375" y="4256089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155F303-A007-4183-B81B-80CA949A140C}" type="datetime'''''''''''''''''''''''''4''''''''''''''''''''''''9''''%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9%</a:t>
            </a:fld>
            <a:endParaRPr lang="en-GB" sz="1000" dirty="0"/>
          </a:p>
        </p:txBody>
      </p:sp>
      <p:sp>
        <p:nvSpPr>
          <p:cNvPr id="309" name="Text Placeholder 2">
            <a:extLst>
              <a:ext uri="{FF2B5EF4-FFF2-40B4-BE49-F238E27FC236}">
                <a16:creationId xmlns:a16="http://schemas.microsoft.com/office/drawing/2014/main" id="{E63A5D42-E515-0815-56CF-6CA1DDE37CB6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2073275" y="4325939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7620E9E-CF85-48BD-AE6B-CA227B8D2918}" type="datetime'''''''''''''4''''''''''''''''''''''2''''''''''''''''''%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2%</a:t>
            </a:fld>
            <a:endParaRPr lang="en-GB" sz="1000" dirty="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D7934300-0D43-D75D-7DD7-CA5E04053249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2576513" y="4657726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15F3AA5-F17F-4166-9B4D-A38AA78ABC99}" type="datetime'''''8''''''''''%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GB" sz="1000" dirty="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CF8275EB-0F19-FE85-EA05-CB8884315524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5180013" y="3784601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A9804BF-0CCE-4A38-83DB-B334D8EEDF3D}" type="datetime'''''''''''''''''''''''''''''''9''''''''''''8''''''''''''%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8%</a:t>
            </a:fld>
            <a:endParaRPr lang="en-GB" sz="1000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20467BC4-9226-DAA7-6F0A-BF46CBC95955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6153150" y="4718051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DA3FBBE-E275-41AB-B10D-A34E8896C02D}" type="datetime'2''''''''''''%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GB" sz="1000" dirty="0"/>
          </a:p>
        </p:txBody>
      </p:sp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6B30484F-10D3-8CAA-FA45-A4AD7BE0E4BA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7875588" y="3765551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053266-0685-4D58-BF08-46E9781C1D86}" type="datetime'''''''''''1''''''''''''''''''''0''0''''''''''''''%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GB" sz="1000" dirty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E632EF2F-6213-5A3F-BFD5-EA467374CD5A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469187" y="4737100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46F60D1-3C21-405A-89DB-2AAFE1CAD2CB}" type="datetime'''''''''''''''''''''''''0''''''''''''''''''%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graphicFrame>
        <p:nvGraphicFramePr>
          <p:cNvPr id="364" name="Chart 363">
            <a:extLst>
              <a:ext uri="{FF2B5EF4-FFF2-40B4-BE49-F238E27FC236}">
                <a16:creationId xmlns:a16="http://schemas.microsoft.com/office/drawing/2014/main" id="{5D283AB8-A9B0-84BB-5E2F-626D12ECE57A}"/>
              </a:ext>
            </a:extLst>
          </p:cNvPr>
          <p:cNvGraphicFramePr/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2403062235"/>
              </p:ext>
            </p:extLst>
          </p:nvPr>
        </p:nvGraphicFramePr>
        <p:xfrm>
          <a:off x="1225550" y="5599113"/>
          <a:ext cx="7316788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C2DCDABC-F3E2-7E46-7CF1-043A8EBEA370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3740150" y="6696075"/>
            <a:ext cx="498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7769D0A-047F-4238-96F2-6CAD5BE730A8}" type="datetime'''''''C''''''l''us''''''''''t''''er'' ''''''''''1 '''''">
              <a:rPr lang="en-GB" altLang="en-US" sz="1000" smtClean="0"/>
              <a:pPr/>
              <a:t>Cluster 1 </a:t>
            </a:fld>
            <a:endParaRPr lang="en-GB" sz="10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8FB6D11-3F17-8D24-0534-68FFC3A713BD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5541963" y="6696075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6524FA3-8BF7-46F0-8C23-8C0DC78C51BB}" type="datetime'''''''C''''l''''''u''''''''''''''''''s''''''t''er'''''' ''2'''">
              <a:rPr lang="en-GB" altLang="en-US" sz="1000" smtClean="0"/>
              <a:pPr/>
              <a:t>Cluster 2</a:t>
            </a:fld>
            <a:endParaRPr lang="en-GB" sz="10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0F26C44B-526B-C9FC-555F-89358725773E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329488" y="6696075"/>
            <a:ext cx="469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96F7944-1B03-4D82-A9AB-82905FDB547F}" type="datetime'''''''''''''''''''C''''l''u''''s''''''t''''''''''''e''r'' ''3'">
              <a:rPr lang="en-GB" altLang="en-US" sz="1000" smtClean="0"/>
              <a:pPr/>
              <a:t>Cluster 3</a:t>
            </a:fld>
            <a:endParaRPr lang="en-GB" sz="1000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14C65CAF-3546-6B2F-CA6B-B3ED5A72877A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3357563" y="5519738"/>
            <a:ext cx="320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46AAB19-13E9-42DA-9F46-A5F70AA45F4B}" type="datetime'''''''''''''''1''''''''''''''0''''''''''0''''''''''%'">
              <a:rPr lang="en-GB" altLang="en-US" sz="1000" smtClean="0"/>
              <a:pPr/>
              <a:t>100%</a:t>
            </a:fld>
            <a:endParaRPr lang="en-GB" sz="1000" dirty="0"/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70CEAE4-BEEE-DF59-6FD8-787F708E5801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3894137" y="649128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4E3C912-48AF-4B85-B412-B9C31041BEFB}" type="datetime'''''''''''0''''%''''''''''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0C6617E7-BB9F-5320-3B65-C9216F40DB22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4364037" y="649128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383FD8D-A311-4587-ACB2-E60B1A71C3A2}" type="datetime'''''''''0''''''%''''''''''''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341" name="Text Placeholder 2">
            <a:extLst>
              <a:ext uri="{FF2B5EF4-FFF2-40B4-BE49-F238E27FC236}">
                <a16:creationId xmlns:a16="http://schemas.microsoft.com/office/drawing/2014/main" id="{B0C6C518-3C55-AD65-F3C1-E651117B0B59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153149" y="6491288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2B951F4-A1D2-4614-B798-323115628C03}" type="datetime'''''''''''''''0''''%'''''''''''''''''''''''''''''">
              <a:rPr lang="en-GB" altLang="en-US" sz="1000" smtClean="0"/>
              <a:pPr/>
              <a:t>0%</a:t>
            </a:fld>
            <a:endParaRPr lang="en-GB" sz="1000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3437753D-E0B5-32B7-8E7E-E8DEA1F6F840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1722438" y="6696075"/>
            <a:ext cx="957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6D6FAD7-9647-47CC-BEF8-69F7522DBADA}" type="datetime'''O''rign''i''''''''n''al'''' ''''''''Netwo''''r''''''k'''''''">
              <a:rPr lang="en-GB" altLang="en-US" sz="1000" smtClean="0"/>
              <a:pPr/>
              <a:t>Origninal Network</a:t>
            </a:fld>
            <a:endParaRPr lang="en-GB" sz="1000" dirty="0"/>
          </a:p>
        </p:txBody>
      </p:sp>
      <p:sp>
        <p:nvSpPr>
          <p:cNvPr id="357" name="Text Placeholder 2">
            <a:extLst>
              <a:ext uri="{FF2B5EF4-FFF2-40B4-BE49-F238E27FC236}">
                <a16:creationId xmlns:a16="http://schemas.microsoft.com/office/drawing/2014/main" id="{F29603DB-B6FA-DD80-AEF6-2CA106B4D437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2073275" y="6083301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97D7364-9DDA-4C28-8017-22DA0001B547}" type="datetime'''4''''''''''''''''2%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42%</a:t>
            </a:fld>
            <a:endParaRPr lang="en-GB" sz="1000" dirty="0"/>
          </a:p>
        </p:txBody>
      </p:sp>
      <p:sp>
        <p:nvSpPr>
          <p:cNvPr id="358" name="Text Placeholder 2">
            <a:extLst>
              <a:ext uri="{FF2B5EF4-FFF2-40B4-BE49-F238E27FC236}">
                <a16:creationId xmlns:a16="http://schemas.microsoft.com/office/drawing/2014/main" id="{D30D6128-8AE4-00F6-9734-A80A22D5EA33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2576513" y="6424614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821AF6F-4652-492B-B693-C1BEDCE04C5C}" type="datetime'''7''''''%''''''''''''''''''''''''''''''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en-GB" sz="1000" dirty="0"/>
          </a:p>
        </p:txBody>
      </p:sp>
      <p:sp>
        <p:nvSpPr>
          <p:cNvPr id="359" name="Text Placeholder 2">
            <a:extLst>
              <a:ext uri="{FF2B5EF4-FFF2-40B4-BE49-F238E27FC236}">
                <a16:creationId xmlns:a16="http://schemas.microsoft.com/office/drawing/2014/main" id="{E33E4C55-DCFD-E261-930F-C581A13BB94F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5180013" y="561181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8CAEE1-11BA-43C8-9505-8A3FD5E9F996}" type="datetime'''''''''''9''''''''''0''''''''%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0%</a:t>
            </a:fld>
            <a:endParaRPr lang="en-GB" sz="1000" dirty="0"/>
          </a:p>
        </p:txBody>
      </p:sp>
      <p:sp>
        <p:nvSpPr>
          <p:cNvPr id="360" name="Text Placeholder 2">
            <a:extLst>
              <a:ext uri="{FF2B5EF4-FFF2-40B4-BE49-F238E27FC236}">
                <a16:creationId xmlns:a16="http://schemas.microsoft.com/office/drawing/2014/main" id="{E0FE3BE7-FA88-69D3-1BCE-5CB8D4B61BC1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5649913" y="639921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ECDB99-F2D9-4B68-83CA-5F465B91B527}" type="datetime'1''''''''''''''''''''''''0%''''''''''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GB" sz="1000" dirty="0"/>
          </a:p>
        </p:txBody>
      </p:sp>
      <p:sp>
        <p:nvSpPr>
          <p:cNvPr id="361" name="Text Placeholder 2">
            <a:extLst>
              <a:ext uri="{FF2B5EF4-FFF2-40B4-BE49-F238E27FC236}">
                <a16:creationId xmlns:a16="http://schemas.microsoft.com/office/drawing/2014/main" id="{6B9BB51A-D9CF-6747-21C2-60DC719C88A3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6967538" y="637381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010147F-B1EF-44F3-A514-4EAEC11B1A12}" type="datetime'1''''''''''2''''%''''''''''''''''''''''''''''''''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en-GB" sz="1000" dirty="0"/>
          </a:p>
        </p:txBody>
      </p:sp>
      <p:sp>
        <p:nvSpPr>
          <p:cNvPr id="362" name="Text Placeholder 2">
            <a:extLst>
              <a:ext uri="{FF2B5EF4-FFF2-40B4-BE49-F238E27FC236}">
                <a16:creationId xmlns:a16="http://schemas.microsoft.com/office/drawing/2014/main" id="{08D36988-5BBC-BD8C-FC14-FDC0D514074B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7437438" y="5681664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B9E99A-E812-45B3-B15E-647A154E8BEB}" type="datetime'''''''''''''''8''''3''''''''''''''%''''''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3%</a:t>
            </a:fld>
            <a:endParaRPr lang="en-GB" sz="1000" dirty="0"/>
          </a:p>
        </p:txBody>
      </p:sp>
      <p:sp>
        <p:nvSpPr>
          <p:cNvPr id="363" name="Text Placeholder 2">
            <a:extLst>
              <a:ext uri="{FF2B5EF4-FFF2-40B4-BE49-F238E27FC236}">
                <a16:creationId xmlns:a16="http://schemas.microsoft.com/office/drawing/2014/main" id="{014F02BB-BEB8-52AD-402B-6E7E6CB0D2CD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7940675" y="644683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CD26786-E81D-4A5D-9E66-B9B63E363B8D}" type="datetime'''''''''''''''5''''''''''''''''''''''''''''%''''''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GB" sz="1000" dirty="0"/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9DD25A86-C273-EB3F-0A26-8E3083C5D622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603375" y="5994401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E0AAE3A-D03E-4B38-9C14-E9CA277470ED}" type="datetime'''5''''''''''''''''''''''''''''''''1''''''''''''''%'">
              <a:rPr lang="en-GB" altLang="en-US" sz="10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51%</a:t>
            </a:fld>
            <a:endParaRPr lang="en-GB" sz="10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5E8DBDF6-0B37-C25D-4C2F-6AC60B4AA587}"/>
              </a:ext>
            </a:extLst>
          </p:cNvPr>
          <p:cNvSpPr txBox="1"/>
          <p:nvPr/>
        </p:nvSpPr>
        <p:spPr>
          <a:xfrm>
            <a:off x="1135059" y="247748"/>
            <a:ext cx="975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2011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F7C4B329-95E5-8F3F-8BDF-4700F648E7BD}"/>
              </a:ext>
            </a:extLst>
          </p:cNvPr>
          <p:cNvSpPr txBox="1"/>
          <p:nvPr/>
        </p:nvSpPr>
        <p:spPr>
          <a:xfrm>
            <a:off x="1144750" y="1912938"/>
            <a:ext cx="975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2013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2926BF6-FB9F-DB60-3782-321390E036CC}"/>
              </a:ext>
            </a:extLst>
          </p:cNvPr>
          <p:cNvSpPr txBox="1"/>
          <p:nvPr/>
        </p:nvSpPr>
        <p:spPr>
          <a:xfrm>
            <a:off x="1140528" y="3568700"/>
            <a:ext cx="975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2016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AD314A64-7912-A048-6640-2A46605B6C1A}"/>
              </a:ext>
            </a:extLst>
          </p:cNvPr>
          <p:cNvSpPr txBox="1"/>
          <p:nvPr/>
        </p:nvSpPr>
        <p:spPr>
          <a:xfrm>
            <a:off x="1135059" y="5207000"/>
            <a:ext cx="975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1823887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1.00000000000000000000E+00&quot;&gt;&lt;m_msothmcolidx val=&quot;0&quot;/&gt;&lt;m_rgb r=&quot;AA&quot; g=&quot;98&quot; b=&quot;EC&quot;/&gt;&lt;/elem&gt;&lt;elem m_fUsage=&quot;9.00000000000000022204E-01&quot;&gt;&lt;m_msothmcolidx val=&quot;0&quot;/&gt;&lt;m_rgb r=&quot;FF&quot; g=&quot;9E&quot; b=&quot;36&quot;/&gt;&lt;/elem&gt;&lt;elem m_fUsage=&quot;8.10000000000000053291E-01&quot;&gt;&lt;m_msothmcolidx val=&quot;0&quot;/&gt;&lt;m_rgb r=&quot;02&quot; g=&quot;BF&quot; b=&quot;54&quot;/&gt;&lt;/elem&gt;&lt;elem m_fUsage=&quot;7.29000000000000092371E-01&quot;&gt;&lt;m_msothmcolidx val=&quot;0&quot;/&gt;&lt;m_rgb r=&quot;F3&quot; g=&quot;97&quot; b=&quot;31&quot;/&gt;&lt;/elem&gt;&lt;elem m_fUsage=&quot;6.56100000000000127542E-01&quot;&gt;&lt;m_msothmcolidx val=&quot;0&quot;/&gt;&lt;m_rgb r=&quot;CB&quot; g=&quot;7D&quot; b=&quot;EC&quot;/&gt;&lt;/elem&gt;&lt;elem m_fUsage=&quot;5.90490000000000181402E-01&quot;&gt;&lt;m_msothmcolidx val=&quot;0&quot;/&gt;&lt;m_rgb r=&quot;37&quot; g=&quot;88&quot; b=&quot;22&quot;/&gt;&lt;/elem&gt;&lt;elem m_fUsage=&quot;5.31441000000000163261E-01&quot;&gt;&lt;m_msothmcolidx val=&quot;0&quot;/&gt;&lt;m_rgb r=&quot;7B&quot; g=&quot;6B&quot; b=&quot;A5&quot;/&gt;&lt;/elem&gt;&lt;elem m_fUsage=&quot;4.78296900000000135833E-01&quot;&gt;&lt;m_msothmcolidx val=&quot;0&quot;/&gt;&lt;m_rgb r=&quot;8F&quot; g=&quot;7C&quot; b=&quot;A5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hNfcwES9gJNTSSBxsA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kK9El9uKgyUUNFRQc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A0x_BmCE_MXRAn8Z6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eHfl42dti4_SCPb4k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mwf63tf9DAGRTlQjqR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hd_gAmmmTpzLkwZPRB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cC0N3W.uWa7NPSk01W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kv0xXwLFOlcKhRX.5P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gGGHNAMmYbAWMjWMyT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lahkVISL89FalaCf9M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I4CumifSz_JDCf48O8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.l_QP4uxY1il1UqmbI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OVm8W4CKlzJx.nQA2o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zvvvaRk_GCd0knIymI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B3vw2zX2sZBsiTaBL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vju8RXcxmH_HPfcJMl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.XqxPXhfoCbi.5txu.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MluVE9IM7Pvxbu9qv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FXdJhsbBoiLRaSNTEr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2Tozl.C0jJLlvCxHdD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FmNVm6ya.uo21z.qju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y6_Tc4WPNN.Q9g3kR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FQToJcGs0hpjICkv97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2Mh1O6y5rwnOFEY50D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m3Ar0HcLjb0ipuKl5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PZs8dh7B1uHFw7G6Ue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Tv63pOtL70BvzEWuYI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ePOmY2NiV8ITIL5QLV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4A_m17s99QGQy8A.ja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hnJ9hZabT46Ba0wZNn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1hmJy7os5urkvmrGKJ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RzrbR7kHsZJ5MXY456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viRjI3gRTTrhKm6j5W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sWvzAtbHhw4QR5IFI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ZCpguZVVW3x0uvVuv7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iIJBj5hYKvIYg_aZ1B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odk8x7bzhsfkCvtCZ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GulL8annTMZkYXWoDN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8aiqYsEgDAXOm_qWfM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bB87yJ2mNqJwYMjneU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j03URPsrYTFUMW98.q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GujfuuazzwAdYD27m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oHqoW4CDD30Y6vfsYX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B_bJn42NLYokXsXgVs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pviA.1wyf4XTaQIEa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YccndBYHLrGz10tG6P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.kQ3_4u1HziVcxI_nB6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yBwjJ9kzVxgcZ6H_ae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3WOHdl5YORpogM5ZB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WaqcGsW4yB8fWH3uy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K8_OQPtYT0ID3lIrcv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_mQZ7KTwHJCpChj73m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.t7EM4zjb788B973gl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GvAK1Rh2EbRDEJZKC_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pMmZ1kiHnG1xQKldC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1Z3JZZTcdyyMsnhdJc1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KuZx8uneadtS2uc5dU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j3OclYbOI_kaTwdFd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Fqj5DK5UfJGCROPDoU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hf7lelPNAF..Vd40Gk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huM40kcFC7EoefMNYLA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o6GUOlbn0pMm04APGn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B0oXHtypPt5cCc1r3.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DFkCcReULSsm8wshts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fYzOuGAKeKvKdMKKkY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MjSSSF_UfMn1AHnPgT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XwY_vXe36C4Hfbq4FFF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e4mP_W94i7GLxINGY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H5OeWYkY71O6RxAjK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8SsJAkq_7tfohoV0rB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dDIrfEh7NDEH3iept80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7PMu7QBwieIYC3IUz_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80u0EnRKpj7SRNKFi_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EmjZ2O74D_kKpADm_2u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30</TotalTime>
  <Words>119</Words>
  <Application>Microsoft Macintosh PowerPoint</Application>
  <PresentationFormat>Widescreen</PresentationFormat>
  <Paragraphs>94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ller, Jakob Tobias</dc:creator>
  <cp:lastModifiedBy>Koller, Jakob Tobias</cp:lastModifiedBy>
  <cp:revision>13</cp:revision>
  <dcterms:created xsi:type="dcterms:W3CDTF">2024-01-28T15:29:03Z</dcterms:created>
  <dcterms:modified xsi:type="dcterms:W3CDTF">2024-01-29T22:17:14Z</dcterms:modified>
</cp:coreProperties>
</file>